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C2FE1F9D-5789-4563-B370-156812179702}">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FAD25FAB-B31A-4AE6-A804-AD7DC71AE18D}">
          <p14:sldIdLst>
            <p14:sldId id="2147477380"/>
            <p14:sldId id="2147477381"/>
            <p14:sldId id="2147477382"/>
          </p14:sldIdLst>
        </p14:section>
        <p14:section name="Segments Share and Growth By Brands" id="{D539E2BF-8C90-4842-87A0-35A64759F810}">
          <p14:sldIdLst>
            <p14:sldId id="2147477383"/>
            <p14:sldId id="2147477384"/>
            <p14:sldId id="2147477385"/>
          </p14:sldIdLst>
        </p14:section>
        <p14:section name="Price Point Distribution Analysis By Brand" id="{58328C30-4587-4268-A228-91BD3738CEF4}">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948AE2-F1F7-4181-92EB-C03692615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161B28-798E-448E-96F2-CF35021DE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2C70EF-3380-4C37-ADB0-BF816D14D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85EF8B-B1F8-40CF-A9B5-5FFAAEF1A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4825E0-83F3-430B-BA38-20ED6C650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BF9657-8D02-4B08-853C-E92C1618F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E02F47-6FDA-40BB-B058-0D691E20D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E3D02E6-02D9-4A86-AC4A-2BB097E0F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F2C854-9F04-426A-A960-DDA5ABA77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6083F0-6872-43BC-A52E-235AAB475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65B726-BE67-4AB0-9A03-4E92E828B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704017-07C8-4EF7-A210-047E83B2C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69DB2A-789C-48A9-91E4-B8648E476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6606DF-39E3-47BB-B923-0226CB4B1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B5CA33-D232-443D-AAF6-0BB278177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435BC2-2325-40B6-9552-9BC6EF542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F7ED71-E459-44A5-8E34-CC7BF6D64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1FEE3-9A39-4C7B-8821-D80D607D2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337D49-FFA6-43DA-AF4F-D0C088DA1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B05338-4315-4A51-968D-D460FD361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A6B5A4-FC43-4774-8515-E1DEC8B26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FBA915-BFFF-4DE9-8279-698E0E9FA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B04C71-7E32-47B8-88D9-F0ECAC76C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97294D-4617-4662-8571-63E52B18F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13B952-EF7E-4D85-BBCE-126CCE55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80F691-C4E4-4FA2-89A9-22366DEFB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718C8E-1AD5-496D-848B-0A226524D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E9EBF-ED58-4DF6-8694-71A3502B8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2D5749-D422-435B-9040-C689655A3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210864-A46C-4E08-A090-90530CC76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5E60AC8-269F-4BC1-B0A0-13236E2E4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A7EC08-8F7E-4BBA-AE54-8408E7B32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D5C2C4-9FD6-4AF8-BCA1-7D36AEBD0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428587-1334-4C02-BF64-A3A565262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E7D082-4D4B-49B8-9975-3BFD798CA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634139-B415-4570-8820-3499E550E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C69A91-474A-4C1D-BD1F-51F4F8AF7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DE3DD8-F5EE-4AA6-817A-EC6162658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01F99D1-9812-45DD-BB06-D2E1E000E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02314A-51EC-4AAD-8C11-979CCD17E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31AF47-3F22-4A24-9F69-C4BD96744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A53C9B-F769-48C7-B7C1-26C7BF965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3F133B-5EC6-4A90-91DA-DC20F1B2F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C915C0-69E8-4540-9FA2-7101E4F2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0DB71F-1570-479D-B3CA-8B43CC01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4C5D33-8009-4140-88FE-63DF96116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92C54B-3F37-40DE-847A-E410A8EF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DB5D3A-BB30-426E-8359-06FF0A665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B38FCB-26E2-4BCD-9522-01E79B500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6E1FC6-9D23-4104-BDCC-45AF2D39C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C32BAA-AA81-4286-96A7-2EE6ECFB23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C6F766-FE15-482B-B2C9-DB3B512A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472B7E-E448-4B69-A609-2E4F8E8ED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E0B5D4-3E1B-472D-86BD-3DCD1D152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99D3C4-7CCC-4A3B-BA6B-033CA7C7A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193B72-3A37-4463-A343-45E0DC147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A68C7A-252C-4A1C-AA88-B430C9618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6EC806-F19B-452D-93F0-FEA9FFE4D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A911A5-ABF2-4954-8D23-D1DDE0AFC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4FD25E-A330-4E53-8947-E4C2F855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B98258-AC92-4768-88A6-57F5FED4B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98387F-DE5A-487D-BDF3-B3158C16F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5D5423-8745-4905-BD5C-D7B9B0ADA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8D6529-BC85-4F85-A227-64A3C266B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1C5919-A670-4673-9456-C4280A244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2A4B02-708B-4A55-A08E-364FA1E69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B4FDEC-C4DF-4BF3-9795-04A9D9EF7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A1C850-B466-4737-B7F4-F3D120830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8C8C24-90AE-4082-9D4F-095C1496F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8CDD1F-A1F6-4B0D-A078-841D1A203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35A5C4-5D15-447E-BCDA-E0700555E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6327F0-0A8F-405C-9B61-CA7F2BD67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195894-53E9-43B4-ADC0-1A838372B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6C39B1-1FBB-4A7C-9430-97FCA3251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5C51FB-4C8D-4CF5-82CC-23852F929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86D5CA-5068-4228-99BE-5ACE20AB6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89C664-FE81-4F7B-AEED-CC7AF0FD7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1ABE1B-B1DB-41D6-84C0-44F1333A1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44D109-A4EE-4904-BC6C-A361CF302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38FCB5-D531-4BE7-BE21-7EFB21BF2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3D707E-6180-4AE0-B4BD-AC0A4370F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B9A3AE-F2C0-48FB-A097-7B1C0213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9033D8-45FE-4846-9037-2C74A07E4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AA23A3-8C1F-435A-BE61-A2547A3B4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204496-1E3B-4376-AC8C-3CDCA1D33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D97E4D-C99A-417E-B73E-6C1AC836A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90E180-71EC-417D-94D8-069D89752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D45DD0C-96FA-4F2C-AC28-C20DC3A89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EEC46C-78ED-4632-9C9F-6F7519292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3FCB16-1F53-4224-9A91-766B20AAE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A52846-1637-47B0-BC37-05F58EEF4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B30286-B832-4381-AD9D-C68FED963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22F17B-B1C1-4949-B13E-1CF10B27E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370163-6629-4B44-91A9-9C3DB0DC5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2A8F75-272D-484F-8FE3-4B6E66F95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11B7BE-507F-427C-A974-9E240971B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B0B797-7CAB-484C-ABE8-FD1E3687A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9DB4F1-F0D6-4E4A-8798-FF0C35B93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B253BA-9B8E-4B65-9699-34BE41803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B48220-60D0-42DC-AE7D-79166A53A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018EC4-E221-45C0-A678-EC5F5C68E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B0AC1A-A2F3-43A0-B139-15FBF7196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57F7BC-B5B1-4E56-86DE-28FED429A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91FE52-F3EF-434B-B415-9F1DE962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C30429-15FE-40F9-9E41-02F96F926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A9E563-7EAD-4DC6-A012-F4407C4B8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6F2CB-23EE-4E2A-B855-5EACB4238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EBC131F-20C9-41EC-A614-CBD8B9318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A8986E-CA6C-4AF2-8D2B-E25DBDE54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548400-DB34-4A83-8F2D-CBAB0F538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CB0A22-87FC-47A3-B8F9-2CACF6CB8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4C2208-84E4-45CD-A9B7-3776E9FB2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4FBFEB8-9028-42FF-B5BB-E75B800D4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952378-1233-489B-8D02-90D3AF640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013A39-9BA0-4CA3-865B-A56B38B8C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7A5E3F-E405-4588-9757-BC8993A19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776B9C-C53F-4523-B152-E98DE11C7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141F23-0450-4447-826B-7792B5FDB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DDCFAD-10D9-471A-A3EF-01BEA2982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10F261-5B42-4628-9F90-0BD3C21AE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1211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0950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19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0969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9820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0707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82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36382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32281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09075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24200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1448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71771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223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35608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18442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98799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410929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1488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257087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807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054590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79958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964691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56187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35866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5320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34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5682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856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6457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73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426</Words>
  <Application>Microsoft Office PowerPoint</Application>
  <PresentationFormat>On-screen Show (16:9)</PresentationFormat>
  <Paragraphs>1631</Paragraphs>
  <Slides>3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6T08:0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